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0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CD6DE-7DEC-4102-80D0-1A06FCD4CA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C336202-7BA5-2C54-3383-B21B4ACFC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36202-7BA5-2C54-3383-B21B4ACFC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0F45E1-FB8D-48BF-E6D2-33350C593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B09D075-6B8F-FAD3-10D0-CF53A76C742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28AB4073-1599-4DCE-898C-7E74C5751D29}"/>
              </a:ext>
            </a:extLst>
          </p:cNvPr>
          <p:cNvSpPr txBox="1">
            <a:spLocks/>
          </p:cNvSpPr>
          <p:nvPr/>
        </p:nvSpPr>
        <p:spPr>
          <a:xfrm>
            <a:off x="1079385" y="3870966"/>
            <a:ext cx="9749275" cy="419895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dirty="0">
                <a:latin typeface="+mn-lt"/>
              </a:rPr>
              <a:t>Insert Text Her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185D9415-1333-1929-D468-6873864010C0}"/>
              </a:ext>
            </a:extLst>
          </p:cNvPr>
          <p:cNvSpPr/>
          <p:nvPr/>
        </p:nvSpPr>
        <p:spPr>
          <a:xfrm>
            <a:off x="642892" y="2568111"/>
            <a:ext cx="10924404" cy="3025376"/>
          </a:xfrm>
          <a:custGeom>
            <a:avLst/>
            <a:gdLst>
              <a:gd name="connsiteX0" fmla="*/ 323438 w 10749280"/>
              <a:gd name="connsiteY0" fmla="*/ 0 h 2976880"/>
              <a:gd name="connsiteX1" fmla="*/ 352452 w 10749280"/>
              <a:gd name="connsiteY1" fmla="*/ 0 h 2976880"/>
              <a:gd name="connsiteX2" fmla="*/ 352452 w 10749280"/>
              <a:gd name="connsiteY2" fmla="*/ 138789 h 2976880"/>
              <a:gd name="connsiteX3" fmla="*/ 420853 w 10749280"/>
              <a:gd name="connsiteY3" fmla="*/ 207190 h 2976880"/>
              <a:gd name="connsiteX4" fmla="*/ 875209 w 10749280"/>
              <a:gd name="connsiteY4" fmla="*/ 207190 h 2976880"/>
              <a:gd name="connsiteX5" fmla="*/ 943610 w 10749280"/>
              <a:gd name="connsiteY5" fmla="*/ 138789 h 2976880"/>
              <a:gd name="connsiteX6" fmla="*/ 943610 w 10749280"/>
              <a:gd name="connsiteY6" fmla="*/ 0 h 2976880"/>
              <a:gd name="connsiteX7" fmla="*/ 10425842 w 10749280"/>
              <a:gd name="connsiteY7" fmla="*/ 0 h 2976880"/>
              <a:gd name="connsiteX8" fmla="*/ 10749280 w 10749280"/>
              <a:gd name="connsiteY8" fmla="*/ 323438 h 2976880"/>
              <a:gd name="connsiteX9" fmla="*/ 10749280 w 10749280"/>
              <a:gd name="connsiteY9" fmla="*/ 2653442 h 2976880"/>
              <a:gd name="connsiteX10" fmla="*/ 10425842 w 10749280"/>
              <a:gd name="connsiteY10" fmla="*/ 2976880 h 2976880"/>
              <a:gd name="connsiteX11" fmla="*/ 10397159 w 10749280"/>
              <a:gd name="connsiteY11" fmla="*/ 2976880 h 2976880"/>
              <a:gd name="connsiteX12" fmla="*/ 10397159 w 10749280"/>
              <a:gd name="connsiteY12" fmla="*/ 2834578 h 2976880"/>
              <a:gd name="connsiteX13" fmla="*/ 10328758 w 10749280"/>
              <a:gd name="connsiteY13" fmla="*/ 2766177 h 2976880"/>
              <a:gd name="connsiteX14" fmla="*/ 9874402 w 10749280"/>
              <a:gd name="connsiteY14" fmla="*/ 2766177 h 2976880"/>
              <a:gd name="connsiteX15" fmla="*/ 9806001 w 10749280"/>
              <a:gd name="connsiteY15" fmla="*/ 2834578 h 2976880"/>
              <a:gd name="connsiteX16" fmla="*/ 9806001 w 10749280"/>
              <a:gd name="connsiteY16" fmla="*/ 2976880 h 2976880"/>
              <a:gd name="connsiteX17" fmla="*/ 323438 w 10749280"/>
              <a:gd name="connsiteY17" fmla="*/ 2976880 h 2976880"/>
              <a:gd name="connsiteX18" fmla="*/ 0 w 10749280"/>
              <a:gd name="connsiteY18" fmla="*/ 2653442 h 2976880"/>
              <a:gd name="connsiteX19" fmla="*/ 0 w 10749280"/>
              <a:gd name="connsiteY19" fmla="*/ 323438 h 2976880"/>
              <a:gd name="connsiteX20" fmla="*/ 323438 w 10749280"/>
              <a:gd name="connsiteY20" fmla="*/ 0 h 297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749280" h="2976880">
                <a:moveTo>
                  <a:pt x="323438" y="0"/>
                </a:moveTo>
                <a:lnTo>
                  <a:pt x="352452" y="0"/>
                </a:lnTo>
                <a:lnTo>
                  <a:pt x="352452" y="138789"/>
                </a:lnTo>
                <a:cubicBezTo>
                  <a:pt x="352452" y="176566"/>
                  <a:pt x="383076" y="207190"/>
                  <a:pt x="420853" y="207190"/>
                </a:cubicBezTo>
                <a:lnTo>
                  <a:pt x="875209" y="207190"/>
                </a:lnTo>
                <a:cubicBezTo>
                  <a:pt x="912986" y="207190"/>
                  <a:pt x="943610" y="176566"/>
                  <a:pt x="943610" y="138789"/>
                </a:cubicBezTo>
                <a:lnTo>
                  <a:pt x="943610" y="0"/>
                </a:lnTo>
                <a:lnTo>
                  <a:pt x="10425842" y="0"/>
                </a:lnTo>
                <a:cubicBezTo>
                  <a:pt x="10604472" y="0"/>
                  <a:pt x="10749280" y="144808"/>
                  <a:pt x="10749280" y="323438"/>
                </a:cubicBezTo>
                <a:lnTo>
                  <a:pt x="10749280" y="2653442"/>
                </a:lnTo>
                <a:cubicBezTo>
                  <a:pt x="10749280" y="2832072"/>
                  <a:pt x="10604472" y="2976880"/>
                  <a:pt x="10425842" y="2976880"/>
                </a:cubicBezTo>
                <a:lnTo>
                  <a:pt x="10397159" y="2976880"/>
                </a:lnTo>
                <a:lnTo>
                  <a:pt x="10397159" y="2834578"/>
                </a:lnTo>
                <a:cubicBezTo>
                  <a:pt x="10397159" y="2796801"/>
                  <a:pt x="10366535" y="2766177"/>
                  <a:pt x="10328758" y="2766177"/>
                </a:cubicBezTo>
                <a:lnTo>
                  <a:pt x="9874402" y="2766177"/>
                </a:lnTo>
                <a:cubicBezTo>
                  <a:pt x="9836625" y="2766177"/>
                  <a:pt x="9806001" y="2796801"/>
                  <a:pt x="9806001" y="2834578"/>
                </a:cubicBezTo>
                <a:lnTo>
                  <a:pt x="9806001" y="2976880"/>
                </a:lnTo>
                <a:lnTo>
                  <a:pt x="323438" y="2976880"/>
                </a:lnTo>
                <a:cubicBezTo>
                  <a:pt x="144808" y="2976880"/>
                  <a:pt x="0" y="2832072"/>
                  <a:pt x="0" y="2653442"/>
                </a:cubicBezTo>
                <a:lnTo>
                  <a:pt x="0" y="323438"/>
                </a:lnTo>
                <a:cubicBezTo>
                  <a:pt x="0" y="144808"/>
                  <a:pt x="144808" y="0"/>
                  <a:pt x="323438" y="0"/>
                </a:cubicBez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D6D2A5A5-1061-F8B1-FC3C-71EBE85B2451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1087552" y="2351692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8" name="Freeform 46">
            <a:extLst>
              <a:ext uri="{FF2B5EF4-FFF2-40B4-BE49-F238E27FC236}">
                <a16:creationId xmlns:a16="http://schemas.microsoft.com/office/drawing/2014/main" id="{AB4E8792-97A9-A69A-4A3D-8630C0F759EF}"/>
              </a:ext>
            </a:extLst>
          </p:cNvPr>
          <p:cNvSpPr>
            <a:spLocks noEditPoints="1"/>
          </p:cNvSpPr>
          <p:nvPr/>
        </p:nvSpPr>
        <p:spPr bwMode="auto">
          <a:xfrm>
            <a:off x="10694471" y="5461004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981AF45-DA91-6A79-5156-83C7E5445610}"/>
              </a:ext>
            </a:extLst>
          </p:cNvPr>
          <p:cNvSpPr/>
          <p:nvPr/>
        </p:nvSpPr>
        <p:spPr>
          <a:xfrm>
            <a:off x="626323" y="1455628"/>
            <a:ext cx="10957546" cy="707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b="1" dirty="0">
              <a:solidFill>
                <a:prstClr val="white"/>
              </a:solidFill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4DE72DC8-810D-6301-6E90-178738C08445}"/>
              </a:ext>
            </a:extLst>
          </p:cNvPr>
          <p:cNvSpPr txBox="1">
            <a:spLocks/>
          </p:cNvSpPr>
          <p:nvPr/>
        </p:nvSpPr>
        <p:spPr>
          <a:xfrm>
            <a:off x="884667" y="1610531"/>
            <a:ext cx="10440858" cy="397838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680915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0</TotalTime>
  <Words>8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57</cp:revision>
  <dcterms:created xsi:type="dcterms:W3CDTF">2021-03-31T02:49:57Z</dcterms:created>
  <dcterms:modified xsi:type="dcterms:W3CDTF">2025-10-15T08:44:41Z</dcterms:modified>
  <cp:category/>
</cp:coreProperties>
</file>